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A665DE-1876-46DF-97D7-821D40E87081}" v="35" dt="2024-11-04T01:40:39.73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6" d="100"/>
          <a:sy n="96" d="100"/>
        </p:scale>
        <p:origin x="60" y="5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y Cai" userId="a55f23fb-abc1-4758-8447-c3e330444441" providerId="ADAL" clId="{4CA665DE-1876-46DF-97D7-821D40E87081}"/>
    <pc:docChg chg="custSel addSld modSld modMainMaster">
      <pc:chgData name="Andy Cai" userId="a55f23fb-abc1-4758-8447-c3e330444441" providerId="ADAL" clId="{4CA665DE-1876-46DF-97D7-821D40E87081}" dt="2024-11-04T01:40:58.554" v="268" actId="680"/>
      <pc:docMkLst>
        <pc:docMk/>
      </pc:docMkLst>
      <pc:sldChg chg="addSp delSp modSp new mod">
        <pc:chgData name="Andy Cai" userId="a55f23fb-abc1-4758-8447-c3e330444441" providerId="ADAL" clId="{4CA665DE-1876-46DF-97D7-821D40E87081}" dt="2024-11-04T01:40:54.357" v="267" actId="20577"/>
        <pc:sldMkLst>
          <pc:docMk/>
          <pc:sldMk cId="1967445695" sldId="256"/>
        </pc:sldMkLst>
        <pc:spChg chg="mod">
          <ac:chgData name="Andy Cai" userId="a55f23fb-abc1-4758-8447-c3e330444441" providerId="ADAL" clId="{4CA665DE-1876-46DF-97D7-821D40E87081}" dt="2024-11-04T01:40:39.707" v="166" actId="948"/>
          <ac:spMkLst>
            <pc:docMk/>
            <pc:sldMk cId="1967445695" sldId="256"/>
            <ac:spMk id="2" creationId="{55661D88-AD8C-454F-5E4F-817B8E70A392}"/>
          </ac:spMkLst>
        </pc:spChg>
        <pc:spChg chg="mod">
          <ac:chgData name="Andy Cai" userId="a55f23fb-abc1-4758-8447-c3e330444441" providerId="ADAL" clId="{4CA665DE-1876-46DF-97D7-821D40E87081}" dt="2024-11-04T01:40:54.357" v="267" actId="20577"/>
          <ac:spMkLst>
            <pc:docMk/>
            <pc:sldMk cId="1967445695" sldId="256"/>
            <ac:spMk id="3" creationId="{6387374A-2A0E-1464-6F0E-C4B9B033CFC8}"/>
          </ac:spMkLst>
        </pc:spChg>
        <pc:spChg chg="add del mod modVis">
          <ac:chgData name="Andy Cai" userId="a55f23fb-abc1-4758-8447-c3e330444441" providerId="ADAL" clId="{4CA665DE-1876-46DF-97D7-821D40E87081}" dt="2024-11-04T01:40:25.114" v="46"/>
          <ac:spMkLst>
            <pc:docMk/>
            <pc:sldMk cId="1967445695" sldId="256"/>
            <ac:spMk id="4" creationId="{249232A6-F342-F607-47F9-2BB0BFEDBA7A}"/>
          </ac:spMkLst>
        </pc:spChg>
        <pc:spChg chg="add del mod modVis">
          <ac:chgData name="Andy Cai" userId="a55f23fb-abc1-4758-8447-c3e330444441" providerId="ADAL" clId="{4CA665DE-1876-46DF-97D7-821D40E87081}" dt="2024-11-04T01:40:34.032" v="114"/>
          <ac:spMkLst>
            <pc:docMk/>
            <pc:sldMk cId="1967445695" sldId="256"/>
            <ac:spMk id="6" creationId="{E65F6528-83A6-98A1-D137-73625BD533F1}"/>
          </ac:spMkLst>
        </pc:spChg>
        <pc:spChg chg="add del mod modVis">
          <ac:chgData name="Andy Cai" userId="a55f23fb-abc1-4758-8447-c3e330444441" providerId="ADAL" clId="{4CA665DE-1876-46DF-97D7-821D40E87081}" dt="2024-11-04T01:40:35.243" v="143"/>
          <ac:spMkLst>
            <pc:docMk/>
            <pc:sldMk cId="1967445695" sldId="256"/>
            <ac:spMk id="7" creationId="{66574DDC-B833-FE50-7394-DDC7F9297CDC}"/>
          </ac:spMkLst>
        </pc:spChg>
        <pc:spChg chg="add del mod modVis">
          <ac:chgData name="Andy Cai" userId="a55f23fb-abc1-4758-8447-c3e330444441" providerId="ADAL" clId="{4CA665DE-1876-46DF-97D7-821D40E87081}" dt="2024-11-04T01:40:39.733" v="187"/>
          <ac:spMkLst>
            <pc:docMk/>
            <pc:sldMk cId="1967445695" sldId="256"/>
            <ac:spMk id="8" creationId="{9A2DA905-4EC8-1DF4-9A9A-071F5E21015F}"/>
          </ac:spMkLst>
        </pc:spChg>
        <pc:graphicFrameChg chg="add mod ord modVis">
          <ac:chgData name="Andy Cai" userId="a55f23fb-abc1-4758-8447-c3e330444441" providerId="ADAL" clId="{4CA665DE-1876-46DF-97D7-821D40E87081}" dt="2024-11-04T01:40:39.735" v="189"/>
          <ac:graphicFrameMkLst>
            <pc:docMk/>
            <pc:sldMk cId="1967445695" sldId="256"/>
            <ac:graphicFrameMk id="5" creationId="{011A5761-531A-1666-FD26-AB4B5F278680}"/>
          </ac:graphicFrameMkLst>
        </pc:graphicFrameChg>
      </pc:sldChg>
      <pc:sldChg chg="new">
        <pc:chgData name="Andy Cai" userId="a55f23fb-abc1-4758-8447-c3e330444441" providerId="ADAL" clId="{4CA665DE-1876-46DF-97D7-821D40E87081}" dt="2024-11-04T01:40:58.554" v="268" actId="680"/>
        <pc:sldMkLst>
          <pc:docMk/>
          <pc:sldMk cId="2987476754" sldId="257"/>
        </pc:sldMkLst>
      </pc:sldChg>
      <pc:sldMasterChg chg="addSp delSp modSp mod">
        <pc:chgData name="Andy Cai" userId="a55f23fb-abc1-4758-8447-c3e330444441" providerId="ADAL" clId="{4CA665DE-1876-46DF-97D7-821D40E87081}" dt="2024-11-04T01:40:25.185" v="76"/>
        <pc:sldMasterMkLst>
          <pc:docMk/>
          <pc:sldMasterMk cId="702019741" sldId="2147483648"/>
        </pc:sldMasterMkLst>
        <pc:spChg chg="mod">
          <ac:chgData name="Andy Cai" userId="a55f23fb-abc1-4758-8447-c3e330444441" providerId="ADAL" clId="{4CA665DE-1876-46DF-97D7-821D40E87081}" dt="2024-11-04T01:40:25.082" v="25" actId="948"/>
          <ac:spMkLst>
            <pc:docMk/>
            <pc:sldMasterMk cId="702019741" sldId="2147483648"/>
            <ac:spMk id="2" creationId="{2F7E3EE0-BBD4-01A9-8B56-59176CDF52BE}"/>
          </ac:spMkLst>
        </pc:spChg>
        <pc:spChg chg="add del mod modVis">
          <ac:chgData name="Andy Cai" userId="a55f23fb-abc1-4758-8447-c3e330444441" providerId="ADAL" clId="{4CA665DE-1876-46DF-97D7-821D40E87081}" dt="2024-11-04T01:40:25.161" v="62"/>
          <ac:spMkLst>
            <pc:docMk/>
            <pc:sldMasterMk cId="702019741" sldId="2147483648"/>
            <ac:spMk id="7" creationId="{8E50256D-6237-5027-584F-E1AE61120348}"/>
          </ac:spMkLst>
        </pc:spChg>
        <pc:graphicFrameChg chg="add mod ord modVis">
          <ac:chgData name="Andy Cai" userId="a55f23fb-abc1-4758-8447-c3e330444441" providerId="ADAL" clId="{4CA665DE-1876-46DF-97D7-821D40E87081}" dt="2024-11-04T01:40:25.185" v="76"/>
          <ac:graphicFrameMkLst>
            <pc:docMk/>
            <pc:sldMasterMk cId="702019741" sldId="2147483648"/>
            <ac:graphicFrameMk id="8" creationId="{EFFA7627-AC72-0E8A-7CE3-97CE4754BE1A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D20FE3-FD1E-4C36-3063-C4DF30649B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710633-FBE6-4D4F-0DBB-455676CCE5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DB3D1D-6C5D-06EE-5709-3632A3F355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3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DCB342-3EDB-834C-3762-55217A0A8B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8D203F-61CC-E99C-908B-7EEAC43E45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84979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A54C8-86E7-3157-EE0A-6BE1B1CC6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FF6C86-2415-7771-FE36-ED00CEF185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00C84D-68D7-09D3-95FF-0EE7D1E16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3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395952-5417-1D3B-65ED-93E2F3EC4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F53E0F-8E7F-C7AD-5BE6-EEC8B0631F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576106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E5595F9-5E2E-FDCB-1BA4-4E1C5A8C5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ACD94F0-DC7C-4EBA-95AD-F2B5CA4924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79F97C-0486-C8BB-128A-20B95D999F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3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85458A-643F-DB16-815C-E02A2F113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62FE5-2143-5205-8C2F-8CB26862D5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265056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8B145-EA98-A172-6235-A45A5D70F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D6D564-8A8F-33C7-3607-8CF984394B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88F5D8-76E4-57D8-C15D-8D386289DF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3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3F8342-B324-B543-C2BA-4FCA9FE5E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C90B0F-6CB0-DCB2-9E67-85B324204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6980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7820E-1532-C066-C40E-C299265CB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C09CFC-713A-5AD0-A0D5-A9DFB3C816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34C10B-C156-A728-5D49-6EB7D1D88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3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3C8574-361A-F176-C930-19AE6B8C53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BB3FF1-2058-B008-296E-680E27C693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75173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9A9B02-4828-5BD7-E7CC-F4D86CAEDE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199B2C-9BCF-85B4-1118-5A369CD60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38CBF8-6B8F-BFDC-303D-B511E91E64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F83D76-F4E3-F37D-78A6-1B804A81D1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3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87E564-715A-CDAB-D186-D4BE50F2B9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FEB98B-4CE9-C4D1-DC48-D3650B8AB7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602183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63A272-7C91-D198-F263-ADF225ABA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DDB4FA-63FA-CB91-C8E5-07254026DE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3462B0-D9D4-4084-F0B9-98E08A824D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BF88ACF-2B85-C3DA-A4CA-37F38CEBFF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67B4F9D-B7FC-9513-BE91-34469F97FC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5A93DF-91CE-A9B0-3535-27C9254BB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3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A184D6-CADC-87F8-E392-DBC9737CE8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79E4479-5A4C-66E7-1860-502C106B25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2936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C95CC3-5902-8872-FC43-87186B14D4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258090-B885-D610-03D1-24D1D2A44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3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181148-6D48-A553-911B-5745B19846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4E4499-42A7-A22D-DAA1-C6A3ADD6E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03344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29B60D1-EC7A-19D2-A624-93A52E34D2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3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AEC1F4-6005-07F4-5A09-1467DFAFA2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C2C71D-0488-1EF8-ED74-E55FB85B7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392323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0561F7-9232-B57D-37F6-721EF4F2D4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DC051D-B441-9F58-6B49-5CCC5A8602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58B87A-A2AB-98C1-2791-3F77F0CD64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71FAD0-8AC1-FC88-AFC8-B444E275BE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3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514FF7-B0FF-B775-B44F-F023D296C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3FC6CF-DB30-9D35-0C12-559F48550C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13225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2E023-BA43-DA6F-6AD7-394395A99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84A0183-61F5-0225-999B-F72E96469A5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2F198A-1294-59CE-C67E-1CD3F8A62D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03CCD6-CFBE-BD42-A716-A340328F78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3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7281AC-1EC0-EDDA-7447-BA402FD6A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D045BA-B58F-9BFD-360F-95DDFA4FF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24601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FFA7627-AC72-0E8A-7CE3-97CE4754B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26468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01" imgH="501" progId="TCLayout.ActiveDocument.1">
                  <p:embed/>
                </p:oleObj>
              </mc:Choice>
              <mc:Fallback>
                <p:oleObj name="think-cell Slide" r:id="rId14" imgW="501" imgH="50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FA7627-AC72-0E8A-7CE3-97CE4754B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7E3EE0-BBD4-01A9-8B56-59176CDF52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366D0D-C3FA-072A-B355-259ECA44AD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207177-9BDA-D415-D0D7-03DC491213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F17B9F0-54C3-4533-BC47-CC5EFE9937D0}" type="datetimeFigureOut">
              <a:rPr lang="en-CA" smtClean="0"/>
              <a:t>2024-11-03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7B77A1-07F2-DB44-79CE-853F4FA20E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209443-8591-A83E-5F11-E0C599F678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0201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11A5761-531A-1666-FD26-AB4B5F2786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6757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1" progId="TCLayout.ActiveDocument.1">
                  <p:embed/>
                </p:oleObj>
              </mc:Choice>
              <mc:Fallback>
                <p:oleObj name="think-cell Slide" r:id="rId3" imgW="501" imgH="50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1A5761-531A-1666-FD26-AB4B5F2786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5661D88-AD8C-454F-5E4F-817B8E70A3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A" dirty="0"/>
              <a:t>3D Flows Solver Document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87374A-2A0E-1464-6F0E-C4B9B033CFC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CA" dirty="0"/>
              <a:t>MECH 535</a:t>
            </a:r>
          </a:p>
          <a:p>
            <a:r>
              <a:rPr lang="en-CA" dirty="0"/>
              <a:t>Slides are intended to complement commented code when necessary</a:t>
            </a:r>
          </a:p>
        </p:txBody>
      </p:sp>
    </p:spTree>
    <p:extLst>
      <p:ext uri="{BB962C8B-B14F-4D97-AF65-F5344CB8AC3E}">
        <p14:creationId xmlns:p14="http://schemas.microsoft.com/office/powerpoint/2010/main" val="19674456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FA2B36-3E0A-FC6C-E161-C50EC89E4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99B0D6-BA64-4E0C-59D0-EC141D11F5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87476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</Words>
  <Application>Microsoft Office PowerPoint</Application>
  <PresentationFormat>Widescreen</PresentationFormat>
  <Paragraphs>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ptos</vt:lpstr>
      <vt:lpstr>Aptos Display</vt:lpstr>
      <vt:lpstr>Arial</vt:lpstr>
      <vt:lpstr>Office Theme</vt:lpstr>
      <vt:lpstr>think-cell Slide</vt:lpstr>
      <vt:lpstr>3D Flows Solver Docum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dy Cai</dc:creator>
  <cp:lastModifiedBy>Andy Cai</cp:lastModifiedBy>
  <cp:revision>1</cp:revision>
  <dcterms:created xsi:type="dcterms:W3CDTF">2024-11-04T01:40:14Z</dcterms:created>
  <dcterms:modified xsi:type="dcterms:W3CDTF">2024-11-04T01:41:01Z</dcterms:modified>
</cp:coreProperties>
</file>